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8"/>
  </p:notesMasterIdLst>
  <p:sldIdLst>
    <p:sldId id="348" r:id="rId2"/>
    <p:sldId id="366" r:id="rId3"/>
    <p:sldId id="368" r:id="rId4"/>
    <p:sldId id="370" r:id="rId5"/>
    <p:sldId id="369" r:id="rId6"/>
    <p:sldId id="371" r:id="rId7"/>
  </p:sldIdLst>
  <p:sldSz cx="9906000" cy="6858000" type="A4"/>
  <p:notesSz cx="6794500" cy="9906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99" autoAdjust="0"/>
    <p:restoredTop sz="86723" autoAdjust="0"/>
  </p:normalViewPr>
  <p:slideViewPr>
    <p:cSldViewPr showGuides="1">
      <p:cViewPr>
        <p:scale>
          <a:sx n="70" d="100"/>
          <a:sy n="70" d="100"/>
        </p:scale>
        <p:origin x="-996" y="-6"/>
      </p:cViewPr>
      <p:guideLst>
        <p:guide orient="horz" pos="119"/>
        <p:guide orient="horz" pos="482"/>
        <p:guide orient="horz" pos="2160"/>
        <p:guide orient="horz" pos="536"/>
        <p:guide orient="horz" pos="1043"/>
        <p:guide orient="horz" pos="4087"/>
        <p:guide orient="horz" pos="3312"/>
        <p:guide pos="3120"/>
        <p:guide pos="126"/>
        <p:guide pos="61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F6402B-DB8C-4CD0-8333-1293CA7CBFB4}" type="datetimeFigureOut">
              <a:rPr lang="de-DE" smtClean="0"/>
              <a:t>08.04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2950"/>
            <a:ext cx="536575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3DC81D-38FA-4EFB-A816-49076D4E14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5953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447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447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447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3DC81D-38FA-4EFB-A816-49076D4E145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5321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png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image" Target="../media/image6.png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oleObject" Target="../embeddings/oleObject4.bin"/><Relationship Id="rId5" Type="http://schemas.openxmlformats.org/officeDocument/2006/relationships/tags" Target="../tags/tag3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11" Type="http://schemas.openxmlformats.org/officeDocument/2006/relationships/oleObject" Target="../embeddings/oleObject5.bin"/><Relationship Id="rId5" Type="http://schemas.openxmlformats.org/officeDocument/2006/relationships/tags" Target="../tags/tag4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oleObject" Target="../embeddings/oleObject6.bin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image" Target="../media/image9.png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9028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" name="think-cell Slide" r:id="rId9" imgW="341" imgH="340" progId="TCLayout.ActiveDocument.1">
                  <p:embed/>
                </p:oleObj>
              </mc:Choice>
              <mc:Fallback>
                <p:oleObj name="think-cell Slide" r:id="rId9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5" r="307" b="1304"/>
          <a:stretch/>
        </p:blipFill>
        <p:spPr>
          <a:xfrm>
            <a:off x="1" y="0"/>
            <a:ext cx="9921368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194337" y="1655763"/>
            <a:ext cx="9517327" cy="369332"/>
          </a:xfrm>
        </p:spPr>
        <p:txBody>
          <a:bodyPr/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Präsentationstitel (plus ggf. Untertitel)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94337" y="3429000"/>
            <a:ext cx="9517327" cy="456535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nlass der Präsentation</a:t>
            </a:r>
          </a:p>
          <a:p>
            <a:r>
              <a:rPr lang="de-DE" dirty="0" smtClean="0"/>
              <a:t>Ort, Datum (Format: 01. Januar 2020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788410" y="6657647"/>
            <a:ext cx="3136900" cy="168994"/>
          </a:xfrm>
        </p:spPr>
        <p:txBody>
          <a:bodyPr/>
          <a:lstStyle/>
          <a:p>
            <a:r>
              <a:rPr lang="de-DE" dirty="0" smtClean="0"/>
              <a:t>Entwurf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856" y="5501640"/>
            <a:ext cx="3774350" cy="103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250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Beir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0124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5" name="think-cell Slide" r:id="rId11" imgW="341" imgH="340" progId="TCLayout.ActiveDocument.1">
                  <p:embed/>
                </p:oleObj>
              </mc:Choice>
              <mc:Fallback>
                <p:oleObj name="think-cell Slide" r:id="rId11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18"/>
          <a:stretch/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194337" y="3435224"/>
            <a:ext cx="9517327" cy="369332"/>
          </a:xfrm>
        </p:spPr>
        <p:txBody>
          <a:bodyPr/>
          <a:lstStyle>
            <a:lvl1pPr>
              <a:defRPr sz="2400" b="1" baseline="0">
                <a:solidFill>
                  <a:srgbClr val="288599"/>
                </a:solidFill>
              </a:defRPr>
            </a:lvl1pPr>
          </a:lstStyle>
          <a:p>
            <a:r>
              <a:rPr lang="de-DE" dirty="0" smtClean="0"/>
              <a:t>Präsentationstitel (plus ggf. Untertitel)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94337" y="4293096"/>
            <a:ext cx="9517327" cy="456535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nlass der Präsentation</a:t>
            </a:r>
          </a:p>
          <a:p>
            <a:r>
              <a:rPr lang="de-DE" dirty="0" smtClean="0"/>
              <a:t>Ort, Datum (Format: 01. Januar 2020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788410" y="6657647"/>
            <a:ext cx="3136900" cy="1689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Entwurf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856" y="5501640"/>
            <a:ext cx="3774350" cy="1035392"/>
          </a:xfrm>
          <a:prstGeom prst="rect">
            <a:avLst/>
          </a:prstGeom>
        </p:spPr>
      </p:pic>
      <p:sp>
        <p:nvSpPr>
          <p:cNvPr id="9" name="Titel 1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4337" y="2492896"/>
            <a:ext cx="951732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2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b="1" i="1" smtClean="0">
                <a:solidFill>
                  <a:srgbClr val="288599"/>
                </a:solidFill>
                <a:latin typeface="Bodoni MT" pitchFamily="18" charset="0"/>
              </a:rPr>
              <a:t>B e i r a t   M P D L</a:t>
            </a:r>
            <a:endParaRPr lang="de-DE" sz="2400" b="1" i="1" dirty="0">
              <a:solidFill>
                <a:srgbClr val="288599"/>
              </a:solidFill>
              <a:latin typeface="Bodoni MT" pitchFamily="18" charset="0"/>
            </a:endParaRPr>
          </a:p>
        </p:txBody>
      </p:sp>
      <p:sp>
        <p:nvSpPr>
          <p:cNvPr id="10" name="Untertitel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94337" y="5085184"/>
            <a:ext cx="1723164" cy="45653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MPG VERTRAULICH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959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Beira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5823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9" name="think-cell Slide" r:id="rId11" imgW="341" imgH="340" progId="TCLayout.ActiveDocument.1">
                  <p:embed/>
                </p:oleObj>
              </mc:Choice>
              <mc:Fallback>
                <p:oleObj name="think-cell Slide" r:id="rId11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9"/>
          <a:stretch/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194337" y="3435224"/>
            <a:ext cx="9517327" cy="369332"/>
          </a:xfrm>
        </p:spPr>
        <p:txBody>
          <a:bodyPr/>
          <a:lstStyle>
            <a:lvl1pPr>
              <a:defRPr sz="2400" b="1" baseline="0">
                <a:solidFill>
                  <a:srgbClr val="288599"/>
                </a:solidFill>
              </a:defRPr>
            </a:lvl1pPr>
          </a:lstStyle>
          <a:p>
            <a:r>
              <a:rPr lang="de-DE" dirty="0" smtClean="0"/>
              <a:t>Präsentationstitel (plus ggf. Untertitel)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94337" y="4293096"/>
            <a:ext cx="9517327" cy="456535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nlass der Präsentation</a:t>
            </a:r>
          </a:p>
          <a:p>
            <a:r>
              <a:rPr lang="de-DE" dirty="0" smtClean="0"/>
              <a:t>Ort, Datum (Format: 01. Januar 2020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788410" y="6657647"/>
            <a:ext cx="3136900" cy="168994"/>
          </a:xfrm>
        </p:spPr>
        <p:txBody>
          <a:bodyPr vert="horz" wrap="none" lIns="0" tIns="0" rIns="0" bIns="0" rtlCol="0" anchor="b"/>
          <a:lstStyle>
            <a:lvl1pPr>
              <a:defRPr lang="de-DE" smtClean="0"/>
            </a:lvl1pPr>
          </a:lstStyle>
          <a:p>
            <a:r>
              <a:rPr lang="de-DE" smtClean="0"/>
              <a:t>Entwurf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856" y="5501640"/>
            <a:ext cx="3774350" cy="1035392"/>
          </a:xfrm>
          <a:prstGeom prst="rect">
            <a:avLst/>
          </a:prstGeom>
        </p:spPr>
      </p:pic>
      <p:sp>
        <p:nvSpPr>
          <p:cNvPr id="9" name="Titel 1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4337" y="2492896"/>
            <a:ext cx="951732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2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b="1" i="1" smtClean="0">
                <a:solidFill>
                  <a:srgbClr val="288599"/>
                </a:solidFill>
                <a:latin typeface="Bodoni MT" pitchFamily="18" charset="0"/>
              </a:rPr>
              <a:t>B e i r a t   M P D L</a:t>
            </a:r>
            <a:endParaRPr lang="de-DE" sz="2400" b="1" i="1" dirty="0">
              <a:solidFill>
                <a:srgbClr val="288599"/>
              </a:solidFill>
              <a:latin typeface="Bodoni MT" pitchFamily="18" charset="0"/>
            </a:endParaRPr>
          </a:p>
        </p:txBody>
      </p:sp>
      <p:sp>
        <p:nvSpPr>
          <p:cNvPr id="10" name="Untertitel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94337" y="5085184"/>
            <a:ext cx="1723164" cy="45653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MPG VERTRAULICH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9429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ei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955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3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9"/>
          <a:stretch/>
        </p:blipFill>
        <p:spPr>
          <a:xfrm>
            <a:off x="5924" y="0"/>
            <a:ext cx="993284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  <p:custDataLst>
              <p:tags r:id="rId8"/>
            </p:custDataLst>
          </p:nvPr>
        </p:nvSpPr>
        <p:spPr>
          <a:xfrm>
            <a:off x="3641947" y="2659558"/>
            <a:ext cx="2614177" cy="1538883"/>
          </a:xfrm>
        </p:spPr>
        <p:txBody>
          <a:bodyPr wrap="none" anchor="ctr"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0" name="Titel 1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8376582" y="175327"/>
            <a:ext cx="1360950" cy="184666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2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200" b="1" i="1" smtClean="0">
                <a:solidFill>
                  <a:srgbClr val="288599"/>
                </a:solidFill>
                <a:latin typeface="Bodoni MT" pitchFamily="18" charset="0"/>
              </a:rPr>
              <a:t>B e i r a t   M P D L</a:t>
            </a:r>
            <a:endParaRPr lang="de-DE" sz="1200" b="1" i="1" dirty="0">
              <a:solidFill>
                <a:srgbClr val="288599"/>
              </a:solidFill>
              <a:latin typeface="Bodoni MT" pitchFamily="18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493"/>
          <a:stretch/>
        </p:blipFill>
        <p:spPr>
          <a:xfrm>
            <a:off x="7905328" y="67902"/>
            <a:ext cx="400606" cy="39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894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19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2" name="think-cell Slide" r:id="rId8" imgW="341" imgH="340" progId="TCLayout.ActiveDocument.1">
                  <p:embed/>
                </p:oleObj>
              </mc:Choice>
              <mc:Fallback>
                <p:oleObj name="think-cell Slide" r:id="rId8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94337" y="3133988"/>
            <a:ext cx="9517327" cy="369332"/>
          </a:xfrm>
        </p:spPr>
        <p:txBody>
          <a:bodyPr/>
          <a:lstStyle>
            <a:lvl1pPr algn="ctr">
              <a:defRPr sz="24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ext Zwischenblat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194337" y="6657647"/>
            <a:ext cx="1014247" cy="168994"/>
          </a:xfrm>
        </p:spPr>
        <p:txBody>
          <a:bodyPr/>
          <a:lstStyle/>
          <a:p>
            <a:fld id="{61964795-51DC-4EE1-96DE-8701F7D63782}" type="datetime1">
              <a:rPr lang="de-DE" smtClean="0"/>
              <a:t>0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5788410" y="6657647"/>
            <a:ext cx="3136900" cy="168994"/>
          </a:xfrm>
        </p:spPr>
        <p:txBody>
          <a:bodyPr/>
          <a:lstStyle/>
          <a:p>
            <a:r>
              <a:rPr lang="de-DE" dirty="0" smtClean="0"/>
              <a:t>Entwur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8931442" y="6659477"/>
            <a:ext cx="773912" cy="167164"/>
          </a:xfrm>
        </p:spPr>
        <p:txBody>
          <a:bodyPr/>
          <a:lstStyle/>
          <a:p>
            <a:fld id="{4AD1E780-DE1C-4ECA-B5E5-863D0BC532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904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kt, 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Beschreibender Titel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194337" y="1600200"/>
            <a:ext cx="9527513" cy="117981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948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641947" y="2659558"/>
            <a:ext cx="2614177" cy="1538883"/>
          </a:xfrm>
        </p:spPr>
        <p:txBody>
          <a:bodyPr wrap="none" anchor="ctr"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Agend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0240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F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0170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kt und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 smtClean="0"/>
              <a:t>Beschreibender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07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nig und groß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072680" y="1655764"/>
            <a:ext cx="5760639" cy="3573436"/>
          </a:xfrm>
        </p:spPr>
        <p:txBody>
          <a:bodyPr wrap="square" anchor="ctr"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800"/>
            </a:lvl3pPr>
            <a:lvl4pPr>
              <a:spcBef>
                <a:spcPts val="600"/>
              </a:spcBef>
              <a:defRPr sz="1800"/>
            </a:lvl4pPr>
            <a:lvl5pPr>
              <a:spcBef>
                <a:spcPts val="600"/>
              </a:spcBef>
              <a:defRPr sz="18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468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nig und großer Text, hi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akt ist X. Y muss getan werden.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072680" y="1655764"/>
            <a:ext cx="5760639" cy="3573436"/>
          </a:xfrm>
          <a:prstGeom prst="roundRect">
            <a:avLst>
              <a:gd name="adj" fmla="val 611"/>
            </a:avLst>
          </a:prstGeom>
          <a:solidFill>
            <a:schemeClr val="accent2"/>
          </a:solidFill>
        </p:spPr>
        <p:txBody>
          <a:bodyPr wrap="square" lIns="72000" tIns="72000" rIns="72000" bIns="72000" anchor="ctr"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800"/>
            </a:lvl3pPr>
            <a:lvl4pPr>
              <a:spcBef>
                <a:spcPts val="600"/>
              </a:spcBef>
              <a:defRPr sz="1800"/>
            </a:lvl4pPr>
            <a:lvl5pPr>
              <a:spcBef>
                <a:spcPts val="600"/>
              </a:spcBef>
              <a:defRPr sz="18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194338" y="765175"/>
            <a:ext cx="9517327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3pPr>
            <a:lvl4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sz="2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0003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90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189824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" name="think-cell Slide" r:id="rId23" imgW="341" imgH="340" progId="TCLayout.ActiveDocument.1">
                  <p:embed/>
                </p:oleObj>
              </mc:Choice>
              <mc:Fallback>
                <p:oleObj name="think-cell Slide" r:id="rId23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80"/>
          <a:stretch/>
        </p:blipFill>
        <p:spPr>
          <a:xfrm>
            <a:off x="0" y="0"/>
            <a:ext cx="9916766" cy="68580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194337" y="143193"/>
            <a:ext cx="7494967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 smtClean="0"/>
              <a:t>Fakt ist X. Y muss getan werd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>
          <a:xfrm>
            <a:off x="194337" y="1600200"/>
            <a:ext cx="9386459" cy="1179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9"/>
            </p:custDataLst>
          </p:nvPr>
        </p:nvSpPr>
        <p:spPr>
          <a:xfrm>
            <a:off x="194337" y="6657647"/>
            <a:ext cx="1014247" cy="168994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E8803-761A-423F-920A-7DEB27B16F30}" type="datetime1">
              <a:rPr lang="de-DE" smtClean="0"/>
              <a:pPr/>
              <a:t>0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>
          <a:xfrm>
            <a:off x="5788410" y="6657647"/>
            <a:ext cx="3136900" cy="168994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Entwur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8931442" y="6659477"/>
            <a:ext cx="773912" cy="167164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D1E780-DE1C-4ECA-B5E5-863D0BC5328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7890" y="114300"/>
            <a:ext cx="1311580" cy="35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57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0" r:id="rId3"/>
    <p:sldLayoutId id="2147483661" r:id="rId4"/>
    <p:sldLayoutId id="2147483662" r:id="rId5"/>
    <p:sldLayoutId id="2147483663" r:id="rId6"/>
    <p:sldLayoutId id="2147483665" r:id="rId7"/>
    <p:sldLayoutId id="2147483666" r:id="rId8"/>
    <p:sldLayoutId id="2147483664" r:id="rId9"/>
    <p:sldLayoutId id="2147483667" r:id="rId10"/>
    <p:sldLayoutId id="2147483668" r:id="rId11"/>
    <p:sldLayoutId id="2147483669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buClr>
          <a:schemeClr val="tx2"/>
        </a:buClr>
        <a:buFont typeface="Wingdings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4625" algn="l" defTabSz="914400" rtl="0" eaLnBrk="1" latinLnBrk="0" hangingPunct="1">
        <a:spcBef>
          <a:spcPts val="2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82563" algn="l" defTabSz="914400" rtl="0" eaLnBrk="1" latinLnBrk="0" hangingPunct="1">
        <a:spcBef>
          <a:spcPts val="200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spcBef>
          <a:spcPts val="200"/>
        </a:spcBef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schlachter@mpdl.mpg.de" TargetMode="External"/><Relationship Id="rId2" Type="http://schemas.openxmlformats.org/officeDocument/2006/relationships/hyperlink" Target="mailto:sikora@mpdl.mpg.de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www.mpdl.mpg.de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7575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3" name="think-cell Slide" r:id="rId6" imgW="341" imgH="340" progId="TCLayout.ActiveDocument.1">
                  <p:embed/>
                </p:oleObj>
              </mc:Choice>
              <mc:Fallback>
                <p:oleObj name="think-cell Slide" r:id="rId6" imgW="341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8504" y="2132856"/>
            <a:ext cx="8424936" cy="147732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3200" dirty="0" smtClean="0"/>
              <a:t>Überblick APC-Management in der </a:t>
            </a:r>
            <a:r>
              <a:rPr lang="de-DE" sz="3200" dirty="0"/>
              <a:t>MPDL:</a:t>
            </a:r>
            <a:br>
              <a:rPr lang="de-DE" sz="3200" dirty="0"/>
            </a:br>
            <a:r>
              <a:rPr lang="de-DE" sz="3200" dirty="0"/>
              <a:t> </a:t>
            </a:r>
            <a:r>
              <a:rPr lang="de-DE" sz="3200" dirty="0" smtClean="0"/>
              <a:t>Bestandsaufnahme </a:t>
            </a:r>
            <a:r>
              <a:rPr lang="de-DE" sz="3200" dirty="0"/>
              <a:t>und Herausforderun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99897" y="4304129"/>
            <a:ext cx="7372639" cy="276999"/>
          </a:xfrm>
        </p:spPr>
        <p:txBody>
          <a:bodyPr/>
          <a:lstStyle/>
          <a:p>
            <a:r>
              <a:rPr lang="de-DE" sz="1800" dirty="0"/>
              <a:t>Open APC / ESAC </a:t>
            </a:r>
            <a:r>
              <a:rPr lang="de-DE" sz="1800" dirty="0" smtClean="0"/>
              <a:t>Workshop | </a:t>
            </a:r>
            <a:r>
              <a:rPr lang="en-US" sz="1800" dirty="0"/>
              <a:t>7.-8. April 2016, </a:t>
            </a:r>
            <a:r>
              <a:rPr lang="en-US" sz="1800" dirty="0" err="1"/>
              <a:t>Universität</a:t>
            </a:r>
            <a:r>
              <a:rPr lang="en-US" sz="1800" dirty="0"/>
              <a:t> </a:t>
            </a:r>
            <a:r>
              <a:rPr lang="en-US" sz="1800" dirty="0" smtClean="0"/>
              <a:t>Bielefeld</a:t>
            </a:r>
            <a:endParaRPr lang="de-DE" sz="180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4294967295"/>
            <p:custDataLst>
              <p:tags r:id="rId3"/>
            </p:custDataLst>
          </p:nvPr>
        </p:nvSpPr>
        <p:spPr>
          <a:xfrm>
            <a:off x="194337" y="6657647"/>
            <a:ext cx="1014247" cy="168994"/>
          </a:xfrm>
        </p:spPr>
        <p:txBody>
          <a:bodyPr/>
          <a:lstStyle/>
          <a:p>
            <a:fld id="{5A2A6BDC-0F70-4EA1-87CE-04FF2240584C}" type="datetime1">
              <a:rPr lang="de-DE" smtClean="0"/>
              <a:pPr/>
              <a:t>08.04.2016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931442" y="6659477"/>
            <a:ext cx="773912" cy="167164"/>
          </a:xfrm>
        </p:spPr>
        <p:txBody>
          <a:bodyPr/>
          <a:lstStyle/>
          <a:p>
            <a:fld id="{4AD1E780-DE1C-4ECA-B5E5-863D0BC53287}" type="slidenum">
              <a:rPr lang="de-DE" smtClean="0"/>
              <a:pPr/>
              <a:t>0</a:t>
            </a:fld>
            <a:endParaRPr lang="de-DE"/>
          </a:p>
        </p:txBody>
      </p:sp>
      <p:sp>
        <p:nvSpPr>
          <p:cNvPr id="13" name="Untertitel 2"/>
          <p:cNvSpPr txBox="1">
            <a:spLocks/>
          </p:cNvSpPr>
          <p:nvPr/>
        </p:nvSpPr>
        <p:spPr>
          <a:xfrm>
            <a:off x="499898" y="1940601"/>
            <a:ext cx="737263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Adriana Sikora, Kai Geschuhn, Michael Schlachter</a:t>
            </a:r>
            <a:endParaRPr lang="de-DE" sz="1800" dirty="0"/>
          </a:p>
        </p:txBody>
      </p:sp>
      <p:pic>
        <p:nvPicPr>
          <p:cNvPr id="24728" name="Picture 15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98" y="5517232"/>
            <a:ext cx="4857750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6730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" name="Rechteck 25599"/>
          <p:cNvSpPr/>
          <p:nvPr/>
        </p:nvSpPr>
        <p:spPr>
          <a:xfrm>
            <a:off x="1352600" y="4245188"/>
            <a:ext cx="3384376" cy="213614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1352600" y="2076096"/>
            <a:ext cx="3384376" cy="2169091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4736976" y="4245187"/>
            <a:ext cx="3669618" cy="21361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4736976" y="2076096"/>
            <a:ext cx="3669618" cy="216909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8" name="Inhaltsplatzhalter 7"/>
          <p:cNvSpPr txBox="1">
            <a:spLocks/>
          </p:cNvSpPr>
          <p:nvPr/>
        </p:nvSpPr>
        <p:spPr>
          <a:xfrm>
            <a:off x="128464" y="1556792"/>
            <a:ext cx="8208912" cy="34563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200"/>
              </a:spcBef>
            </a:pPr>
            <a:endParaRPr lang="de-DE" sz="1800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sz="1600" i="1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</p:txBody>
      </p:sp>
      <p:sp>
        <p:nvSpPr>
          <p:cNvPr id="9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1064568" y="908720"/>
            <a:ext cx="7704856" cy="369332"/>
          </a:xfrm>
        </p:spPr>
        <p:txBody>
          <a:bodyPr/>
          <a:lstStyle/>
          <a:p>
            <a:r>
              <a:rPr lang="de-DE" dirty="0"/>
              <a:t>Überblick APC-Management in der MPDL 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3198091" y="3645024"/>
            <a:ext cx="3123061" cy="1477328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2700000" scaled="1"/>
            <a:tileRect/>
          </a:gradFill>
          <a:ln w="12700">
            <a:noFill/>
          </a:ln>
        </p:spPr>
        <p:txBody>
          <a:bodyPr wrap="square" rtlCol="0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b="1" dirty="0" smtClean="0"/>
              <a:t>Grundversorgung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25" name="Textfeld 24"/>
          <p:cNvSpPr txBox="1"/>
          <p:nvPr/>
        </p:nvSpPr>
        <p:spPr>
          <a:xfrm>
            <a:off x="4818802" y="2421977"/>
            <a:ext cx="3878614" cy="1477328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endParaRPr lang="de-DE" b="1" dirty="0" smtClean="0"/>
          </a:p>
          <a:p>
            <a:r>
              <a:rPr lang="de-DE" b="1" dirty="0" smtClean="0"/>
              <a:t>Bestätigung der MPG-</a:t>
            </a:r>
            <a:r>
              <a:rPr lang="de-DE" b="1" dirty="0" err="1" smtClean="0"/>
              <a:t>Affilation</a:t>
            </a:r>
            <a:r>
              <a:rPr lang="de-DE" b="1" dirty="0" smtClean="0"/>
              <a:t/>
            </a:r>
            <a:br>
              <a:rPr lang="de-DE" b="1" dirty="0" smtClean="0"/>
            </a:br>
            <a:endParaRPr lang="de-DE" b="1" dirty="0" smtClean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6" name="Textfeld 25"/>
          <p:cNvSpPr txBox="1"/>
          <p:nvPr/>
        </p:nvSpPr>
        <p:spPr>
          <a:xfrm>
            <a:off x="4674254" y="4771018"/>
            <a:ext cx="3807138" cy="1754326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endParaRPr lang="de-DE" dirty="0" smtClean="0"/>
          </a:p>
          <a:p>
            <a:endParaRPr lang="de-DE" dirty="0"/>
          </a:p>
          <a:p>
            <a:pPr algn="ctr"/>
            <a:r>
              <a:rPr lang="de-DE" b="1" dirty="0" smtClean="0"/>
              <a:t>Reporting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7" name="Textfeld 26"/>
          <p:cNvSpPr txBox="1"/>
          <p:nvPr/>
        </p:nvSpPr>
        <p:spPr>
          <a:xfrm>
            <a:off x="1618097" y="5302949"/>
            <a:ext cx="2853382" cy="646331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/>
              <a:t>Rechnungsbearbeitung</a:t>
            </a:r>
            <a:br>
              <a:rPr lang="de-DE" b="1" dirty="0" smtClean="0"/>
            </a:br>
            <a:endParaRPr lang="de-DE" b="1" dirty="0" smtClean="0"/>
          </a:p>
        </p:txBody>
      </p:sp>
      <p:sp>
        <p:nvSpPr>
          <p:cNvPr id="28" name="Textfeld 27"/>
          <p:cNvSpPr txBox="1"/>
          <p:nvPr/>
        </p:nvSpPr>
        <p:spPr>
          <a:xfrm>
            <a:off x="1618097" y="2682178"/>
            <a:ext cx="2853382" cy="1200329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de-DE" b="1" dirty="0" smtClean="0"/>
              <a:t>Vertragliche Grundlage</a:t>
            </a:r>
            <a:br>
              <a:rPr lang="de-DE" b="1" dirty="0" smtClean="0"/>
            </a:br>
            <a:endParaRPr lang="de-DE" b="1" dirty="0" smtClean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5601" name="AutoShape 4" descr="Bildergebnis für money euro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5603" name="AutoShape 7" descr="Bildergebnis für money euro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25608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084" y="4152828"/>
            <a:ext cx="788340" cy="788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1218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8" name="Inhaltsplatzhalter 7"/>
          <p:cNvSpPr txBox="1">
            <a:spLocks/>
          </p:cNvSpPr>
          <p:nvPr/>
        </p:nvSpPr>
        <p:spPr>
          <a:xfrm>
            <a:off x="209236" y="1298377"/>
            <a:ext cx="8208912" cy="34563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200"/>
              </a:spcBef>
            </a:pPr>
            <a:endParaRPr lang="de-DE" sz="1800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sz="1600" i="1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</p:txBody>
      </p:sp>
      <p:sp>
        <p:nvSpPr>
          <p:cNvPr id="9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1064568" y="908720"/>
            <a:ext cx="7704856" cy="369332"/>
          </a:xfrm>
        </p:spPr>
        <p:txBody>
          <a:bodyPr/>
          <a:lstStyle/>
          <a:p>
            <a:r>
              <a:rPr lang="de-DE" dirty="0" smtClean="0"/>
              <a:t>Probleme beim </a:t>
            </a:r>
            <a:r>
              <a:rPr lang="de-DE" dirty="0"/>
              <a:t>APC-Management in der MPDL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610655" y="1650004"/>
            <a:ext cx="3982305" cy="4608219"/>
            <a:chOff x="610655" y="1650004"/>
            <a:chExt cx="3982305" cy="4608219"/>
          </a:xfrm>
        </p:grpSpPr>
        <p:grpSp>
          <p:nvGrpSpPr>
            <p:cNvPr id="2" name="Gruppieren 1"/>
            <p:cNvGrpSpPr/>
            <p:nvPr/>
          </p:nvGrpSpPr>
          <p:grpSpPr>
            <a:xfrm>
              <a:off x="610655" y="1650004"/>
              <a:ext cx="3349621" cy="770883"/>
              <a:chOff x="1618096" y="2076096"/>
              <a:chExt cx="3860824" cy="770883"/>
            </a:xfrm>
          </p:grpSpPr>
          <p:sp>
            <p:nvSpPr>
              <p:cNvPr id="31" name="Rechteck 30"/>
              <p:cNvSpPr/>
              <p:nvPr/>
            </p:nvSpPr>
            <p:spPr>
              <a:xfrm>
                <a:off x="1618096" y="2076096"/>
                <a:ext cx="3860824" cy="770883"/>
              </a:xfrm>
              <a:prstGeom prst="rect">
                <a:avLst/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Textfeld 27"/>
              <p:cNvSpPr txBox="1"/>
              <p:nvPr/>
            </p:nvSpPr>
            <p:spPr>
              <a:xfrm>
                <a:off x="1712640" y="2132856"/>
                <a:ext cx="3255077" cy="64633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b="1" dirty="0" smtClean="0"/>
                  <a:t>Vertragliche Grundlage (Rahmenverträge)</a:t>
                </a:r>
              </a:p>
            </p:txBody>
          </p:sp>
        </p:grpSp>
        <p:sp>
          <p:nvSpPr>
            <p:cNvPr id="7" name="Textfeld 6"/>
            <p:cNvSpPr txBox="1"/>
            <p:nvPr/>
          </p:nvSpPr>
          <p:spPr>
            <a:xfrm>
              <a:off x="610656" y="2564904"/>
              <a:ext cx="3982304" cy="36933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 smtClean="0"/>
                <a:t>Benennung des „Bezahl“-Autors</a:t>
              </a:r>
              <a:br>
                <a:rPr lang="de-DE" dirty="0" smtClean="0"/>
              </a:br>
              <a:r>
                <a:rPr lang="de-DE" b="1" i="1" dirty="0" smtClean="0"/>
                <a:t>Vereinheitlichung notwendig?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 smtClean="0"/>
                <a:t>Abbau </a:t>
              </a:r>
              <a:r>
                <a:rPr lang="de-DE" dirty="0"/>
                <a:t>administrativer Hürden für </a:t>
              </a:r>
              <a:r>
                <a:rPr lang="de-DE" dirty="0" smtClean="0"/>
                <a:t>MPG-Autoren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Kostencontrolling (Finanzierung von Lizenzen und APCs aus einem Etat</a:t>
              </a:r>
              <a:r>
                <a:rPr lang="de-DE" dirty="0" smtClean="0"/>
                <a:t>)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 smtClean="0"/>
                <a:t>„</a:t>
              </a:r>
              <a:r>
                <a:rPr lang="de-DE" dirty="0" err="1" smtClean="0"/>
                <a:t>no</a:t>
              </a:r>
              <a:r>
                <a:rPr lang="de-DE" dirty="0" smtClean="0"/>
                <a:t> </a:t>
              </a:r>
              <a:r>
                <a:rPr lang="de-DE" dirty="0"/>
                <a:t>double </a:t>
              </a:r>
              <a:r>
                <a:rPr lang="de-DE" dirty="0" err="1"/>
                <a:t>dipping</a:t>
              </a:r>
              <a:r>
                <a:rPr lang="de-DE" dirty="0"/>
                <a:t>“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 smtClean="0"/>
                <a:t>Bessere Konditionen (z.B. Discounts)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Entwicklung von </a:t>
              </a:r>
              <a:r>
                <a:rPr lang="de-DE" dirty="0" smtClean="0"/>
                <a:t>Geschäftsgängen</a:t>
              </a:r>
              <a:endParaRPr lang="de-DE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b="1" i="1" dirty="0" smtClean="0"/>
                <a:t>Wenig Verhandlungsspielraum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dirty="0" smtClean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4747495" y="1628800"/>
            <a:ext cx="3949921" cy="3787393"/>
            <a:chOff x="4747495" y="1628800"/>
            <a:chExt cx="3949921" cy="3787393"/>
          </a:xfrm>
        </p:grpSpPr>
        <p:grpSp>
          <p:nvGrpSpPr>
            <p:cNvPr id="3" name="Gruppieren 2"/>
            <p:cNvGrpSpPr/>
            <p:nvPr/>
          </p:nvGrpSpPr>
          <p:grpSpPr>
            <a:xfrm>
              <a:off x="4818802" y="1628800"/>
              <a:ext cx="3878614" cy="503404"/>
              <a:chOff x="4818802" y="1628800"/>
              <a:chExt cx="3878614" cy="503404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4831830" y="1628800"/>
                <a:ext cx="3669618" cy="503404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feld 24"/>
              <p:cNvSpPr txBox="1"/>
              <p:nvPr/>
            </p:nvSpPr>
            <p:spPr>
              <a:xfrm>
                <a:off x="4818802" y="1691516"/>
                <a:ext cx="3878614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b="1" dirty="0" smtClean="0"/>
                  <a:t>Bestätigung der MPG-</a:t>
                </a:r>
                <a:r>
                  <a:rPr lang="de-DE" b="1" dirty="0" err="1" smtClean="0"/>
                  <a:t>Affilation</a:t>
                </a:r>
                <a:endParaRPr lang="de-DE" dirty="0"/>
              </a:p>
            </p:txBody>
          </p:sp>
        </p:grpSp>
        <p:sp>
          <p:nvSpPr>
            <p:cNvPr id="18" name="Textfeld 17"/>
            <p:cNvSpPr txBox="1"/>
            <p:nvPr/>
          </p:nvSpPr>
          <p:spPr>
            <a:xfrm>
              <a:off x="4747495" y="2276872"/>
              <a:ext cx="3838288" cy="31393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/>
              <a:endParaRPr lang="de-DE" dirty="0" smtClean="0"/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 smtClean="0"/>
                <a:t>Nur möglich, wenn die benötigten Metadaten geliefert oder zur Verfügung gestellt werden (Dashboard)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b="1" i="1" dirty="0" smtClean="0"/>
                <a:t>Erkennt der Anbieter </a:t>
              </a:r>
              <a:r>
                <a:rPr lang="de-DE" b="1" i="1" u="sng" dirty="0" smtClean="0"/>
                <a:t>alle</a:t>
              </a:r>
              <a:r>
                <a:rPr lang="de-DE" b="1" i="1" dirty="0" smtClean="0"/>
                <a:t> MPG-Autoren?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b="1" i="1" dirty="0" smtClean="0"/>
                <a:t>Automatisierung möglich?</a:t>
              </a:r>
              <a:br>
                <a:rPr lang="de-DE" b="1" i="1" dirty="0" smtClean="0"/>
              </a:br>
              <a:r>
                <a:rPr lang="de-DE" b="1" i="1" dirty="0"/>
                <a:t>*</a:t>
              </a:r>
              <a:r>
                <a:rPr lang="de-DE" b="1" i="1" dirty="0" smtClean="0"/>
                <a:t> IP-Erkennung/Email-Erkennung/Erkennung der Affiliation im Artik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7651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8" name="Inhaltsplatzhalter 7"/>
          <p:cNvSpPr txBox="1">
            <a:spLocks/>
          </p:cNvSpPr>
          <p:nvPr/>
        </p:nvSpPr>
        <p:spPr>
          <a:xfrm>
            <a:off x="128464" y="1556792"/>
            <a:ext cx="8208912" cy="34563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200"/>
              </a:spcBef>
            </a:pPr>
            <a:endParaRPr lang="de-DE" sz="1800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sz="1600" i="1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</p:txBody>
      </p:sp>
      <p:sp>
        <p:nvSpPr>
          <p:cNvPr id="9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1064568" y="908720"/>
            <a:ext cx="7704856" cy="369332"/>
          </a:xfrm>
        </p:spPr>
        <p:txBody>
          <a:bodyPr/>
          <a:lstStyle/>
          <a:p>
            <a:r>
              <a:rPr lang="de-DE" dirty="0" smtClean="0"/>
              <a:t>Probleme beim </a:t>
            </a:r>
            <a:r>
              <a:rPr lang="de-DE" dirty="0"/>
              <a:t>APC-Management in der MPDL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288760" y="1479184"/>
            <a:ext cx="9617240" cy="4563015"/>
            <a:chOff x="288760" y="1479184"/>
            <a:chExt cx="9617240" cy="4563015"/>
          </a:xfrm>
        </p:grpSpPr>
        <p:grpSp>
          <p:nvGrpSpPr>
            <p:cNvPr id="4" name="Gruppieren 3"/>
            <p:cNvGrpSpPr/>
            <p:nvPr/>
          </p:nvGrpSpPr>
          <p:grpSpPr>
            <a:xfrm>
              <a:off x="3264548" y="1479184"/>
              <a:ext cx="2925390" cy="525830"/>
              <a:chOff x="1280592" y="4245188"/>
              <a:chExt cx="2925390" cy="525830"/>
            </a:xfrm>
          </p:grpSpPr>
          <p:sp>
            <p:nvSpPr>
              <p:cNvPr id="25600" name="Rechteck 25599"/>
              <p:cNvSpPr/>
              <p:nvPr/>
            </p:nvSpPr>
            <p:spPr>
              <a:xfrm>
                <a:off x="1280592" y="4245188"/>
                <a:ext cx="2880320" cy="52583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Textfeld 26"/>
              <p:cNvSpPr txBox="1"/>
              <p:nvPr/>
            </p:nvSpPr>
            <p:spPr>
              <a:xfrm>
                <a:off x="1352600" y="4324078"/>
                <a:ext cx="2853382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 smtClean="0"/>
                  <a:t>Rechnungsbearbeitung</a:t>
                </a:r>
              </a:p>
            </p:txBody>
          </p:sp>
        </p:grpSp>
        <p:sp>
          <p:nvSpPr>
            <p:cNvPr id="17" name="Textfeld 16"/>
            <p:cNvSpPr txBox="1"/>
            <p:nvPr/>
          </p:nvSpPr>
          <p:spPr>
            <a:xfrm>
              <a:off x="288760" y="2348880"/>
              <a:ext cx="4744388" cy="36933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u="sng" dirty="0" smtClean="0"/>
                <a:t>Vorauszahlungen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dirty="0"/>
                <a:t>Nachvollziehbare Kontobewegungen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Kontoauszug 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Korrekte Daten (Affiliation, Preis…)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Tagesaktuelle Daten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Für die Prüfung benötigte Metadaten   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de-DE" dirty="0"/>
                <a:t>Erreichbarkeit des Services/Anbiete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dirty="0"/>
                <a:t>Funktionsfähiges und individuell anpassbares Account-Tool/-Administr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dirty="0"/>
                <a:t>Serviceorientierung des Anbiete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de-DE" u="sng" dirty="0" smtClean="0"/>
            </a:p>
            <a:p>
              <a:endParaRPr lang="de-DE" dirty="0" smtClean="0"/>
            </a:p>
            <a:p>
              <a:endParaRPr lang="de-DE" dirty="0"/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5033148" y="2348880"/>
              <a:ext cx="4872852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u="sng" dirty="0"/>
                <a:t>Sammelrechnungen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dirty="0"/>
                <a:t>Formal korrekt ausgestellte Rechnunge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dirty="0"/>
                <a:t>Listung der „wichtigen“ Metadaten der Publik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dirty="0"/>
                <a:t>Transparente Rechnungsbeträge (Nachvollziehbarkeit, leichte Prüfbarkeit)</a:t>
              </a:r>
            </a:p>
            <a:p>
              <a:endParaRPr lang="de-DE" dirty="0"/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5318137" y="4293096"/>
            <a:ext cx="4587863" cy="2746206"/>
            <a:chOff x="5318137" y="4293096"/>
            <a:chExt cx="4587863" cy="2746206"/>
          </a:xfrm>
        </p:grpSpPr>
        <p:grpSp>
          <p:nvGrpSpPr>
            <p:cNvPr id="11" name="Gruppieren 10"/>
            <p:cNvGrpSpPr/>
            <p:nvPr/>
          </p:nvGrpSpPr>
          <p:grpSpPr>
            <a:xfrm>
              <a:off x="5318137" y="4293096"/>
              <a:ext cx="4587863" cy="2746206"/>
              <a:chOff x="5318137" y="4431278"/>
              <a:chExt cx="3667311" cy="2746206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5464493" y="4431278"/>
                <a:ext cx="1440160" cy="407949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>
                <a:noAutofit/>
              </a:bodyPr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/>
              <p:cNvSpPr txBox="1"/>
              <p:nvPr/>
            </p:nvSpPr>
            <p:spPr>
              <a:xfrm>
                <a:off x="5318137" y="4437112"/>
                <a:ext cx="1728192" cy="36933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 smtClean="0"/>
                  <a:t>Reporting</a:t>
                </a:r>
                <a:endParaRPr lang="de-DE" dirty="0" smtClean="0"/>
              </a:p>
            </p:txBody>
          </p:sp>
          <p:sp>
            <p:nvSpPr>
              <p:cNvPr id="6" name="Textfeld 5"/>
              <p:cNvSpPr txBox="1"/>
              <p:nvPr/>
            </p:nvSpPr>
            <p:spPr>
              <a:xfrm>
                <a:off x="5318137" y="4869160"/>
                <a:ext cx="3667311" cy="2308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i="1" dirty="0" smtClean="0"/>
                  <a:t>Passives Reporting</a:t>
                </a:r>
                <a:r>
                  <a:rPr lang="de-DE" dirty="0" smtClean="0"/>
                  <a:t>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 </a:t>
                </a:r>
                <a:r>
                  <a:rPr lang="de-DE" dirty="0"/>
                  <a:t>Maschinenlesbares </a:t>
                </a:r>
                <a:r>
                  <a:rPr lang="de-DE" dirty="0" smtClean="0"/>
                  <a:t>Reporting (jährlich/nach </a:t>
                </a:r>
                <a:r>
                  <a:rPr lang="de-DE" dirty="0"/>
                  <a:t>Bedarf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smtClean="0"/>
                  <a:t>Listung </a:t>
                </a:r>
                <a:r>
                  <a:rPr lang="de-DE" dirty="0"/>
                  <a:t>der „wichtigen“ Metadaten </a:t>
                </a:r>
                <a:r>
                  <a:rPr lang="de-DE" dirty="0" smtClean="0"/>
                  <a:t>der Publikation</a:t>
                </a:r>
              </a:p>
              <a:p>
                <a:endParaRPr lang="de-DE" dirty="0"/>
              </a:p>
              <a:p>
                <a:r>
                  <a:rPr lang="de-DE" i="1" dirty="0" smtClean="0"/>
                  <a:t>Aktives Reporting </a:t>
                </a:r>
                <a:endParaRPr lang="de-DE" dirty="0" smtClean="0"/>
              </a:p>
              <a:p>
                <a:endParaRPr lang="de-DE" dirty="0"/>
              </a:p>
            </p:txBody>
          </p:sp>
        </p:grpSp>
        <p:pic>
          <p:nvPicPr>
            <p:cNvPr id="25602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9264" y="6387188"/>
              <a:ext cx="1423045" cy="354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50727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4243293"/>
              </p:ext>
            </p:extLst>
          </p:nvPr>
        </p:nvGraphicFramePr>
        <p:xfrm>
          <a:off x="208731" y="2205872"/>
          <a:ext cx="9568805" cy="2807304"/>
        </p:xfrm>
        <a:graphic>
          <a:graphicData uri="http://schemas.openxmlformats.org/drawingml/2006/table">
            <a:tbl>
              <a:tblPr/>
              <a:tblGrid>
                <a:gridCol w="9568805"/>
              </a:tblGrid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MC/</a:t>
                      </a:r>
                      <a:r>
                        <a:rPr lang="de-DE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ringerOpen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pernicus</a:t>
                      </a: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tiers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OP/NJP</a:t>
                      </a: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oS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IE</a:t>
                      </a: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ringer Compact</a:t>
                      </a: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91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iley</a:t>
                      </a:r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927" marR="7927" marT="79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Inhaltsplatzhalter 7"/>
          <p:cNvSpPr txBox="1">
            <a:spLocks/>
          </p:cNvSpPr>
          <p:nvPr/>
        </p:nvSpPr>
        <p:spPr>
          <a:xfrm>
            <a:off x="128464" y="1556792"/>
            <a:ext cx="8208912" cy="34563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462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82563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spcBef>
                <a:spcPts val="200"/>
              </a:spcBef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200"/>
              </a:spcBef>
            </a:pPr>
            <a:endParaRPr lang="de-DE" sz="1800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sz="1600" i="1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  <a:p>
            <a:pPr marL="0" lvl="1" indent="0">
              <a:spcBef>
                <a:spcPts val="1200"/>
              </a:spcBef>
              <a:buFont typeface="Wingdings" pitchFamily="2" charset="2"/>
              <a:buNone/>
            </a:pPr>
            <a:endParaRPr lang="de-DE" dirty="0" smtClean="0"/>
          </a:p>
        </p:txBody>
      </p:sp>
      <p:sp>
        <p:nvSpPr>
          <p:cNvPr id="4" name="Pfeil nach rechts 3"/>
          <p:cNvSpPr/>
          <p:nvPr/>
        </p:nvSpPr>
        <p:spPr>
          <a:xfrm>
            <a:off x="2515666" y="5342984"/>
            <a:ext cx="7383355" cy="28803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spc="-150" dirty="0" smtClean="0">
              <a:solidFill>
                <a:schemeClr val="tx1"/>
              </a:solidFill>
            </a:endParaRPr>
          </a:p>
        </p:txBody>
      </p:sp>
      <p:sp>
        <p:nvSpPr>
          <p:cNvPr id="20" name="Flussdiagramm: Zusammenführen 19"/>
          <p:cNvSpPr/>
          <p:nvPr/>
        </p:nvSpPr>
        <p:spPr>
          <a:xfrm>
            <a:off x="3241948" y="5509349"/>
            <a:ext cx="342900" cy="252028"/>
          </a:xfrm>
          <a:prstGeom prst="flowChartMerg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5" name="Flussdiagramm: Zusammenführen 24"/>
          <p:cNvSpPr/>
          <p:nvPr/>
        </p:nvSpPr>
        <p:spPr>
          <a:xfrm>
            <a:off x="7041232" y="5553236"/>
            <a:ext cx="342900" cy="252028"/>
          </a:xfrm>
          <a:prstGeom prst="flowChartMerg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6" name="Flussdiagramm: Zusammenführen 25"/>
          <p:cNvSpPr/>
          <p:nvPr/>
        </p:nvSpPr>
        <p:spPr>
          <a:xfrm>
            <a:off x="8237934" y="5553236"/>
            <a:ext cx="342900" cy="252028"/>
          </a:xfrm>
          <a:prstGeom prst="flowChartMerg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2864768" y="5805264"/>
            <a:ext cx="1368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Einreichung</a:t>
            </a:r>
            <a:endParaRPr lang="de-DE" sz="1400" dirty="0"/>
          </a:p>
        </p:txBody>
      </p:sp>
      <p:sp>
        <p:nvSpPr>
          <p:cNvPr id="27" name="Textfeld 26"/>
          <p:cNvSpPr txBox="1"/>
          <p:nvPr/>
        </p:nvSpPr>
        <p:spPr>
          <a:xfrm>
            <a:off x="6681192" y="5805264"/>
            <a:ext cx="1368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Akzeptierung</a:t>
            </a:r>
            <a:endParaRPr lang="de-DE" sz="1400" dirty="0"/>
          </a:p>
        </p:txBody>
      </p:sp>
      <p:sp>
        <p:nvSpPr>
          <p:cNvPr id="28" name="Textfeld 27"/>
          <p:cNvSpPr txBox="1"/>
          <p:nvPr/>
        </p:nvSpPr>
        <p:spPr>
          <a:xfrm>
            <a:off x="7998167" y="5805264"/>
            <a:ext cx="1475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Publikation</a:t>
            </a:r>
            <a:endParaRPr lang="de-DE" sz="1400" dirty="0"/>
          </a:p>
        </p:txBody>
      </p:sp>
      <p:sp>
        <p:nvSpPr>
          <p:cNvPr id="31" name="Textfeld 30"/>
          <p:cNvSpPr txBox="1"/>
          <p:nvPr/>
        </p:nvSpPr>
        <p:spPr>
          <a:xfrm>
            <a:off x="560512" y="1107167"/>
            <a:ext cx="3866554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92D050"/>
                </a:solidFill>
              </a:rPr>
              <a:t>Bestätigung der MPG-Affiliation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560512" y="1476499"/>
            <a:ext cx="2853382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FF0000"/>
                </a:solidFill>
              </a:rPr>
              <a:t>Rechnungsbearbeitung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3413894" y="6207695"/>
            <a:ext cx="42847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smtClean="0"/>
              <a:t>Einreichungsprozess</a:t>
            </a:r>
            <a:endParaRPr lang="de-DE" sz="2400" b="1" dirty="0"/>
          </a:p>
        </p:txBody>
      </p:sp>
      <p:sp>
        <p:nvSpPr>
          <p:cNvPr id="54" name="AutoShape 4" descr="Bildergebnis für wolke"/>
          <p:cNvSpPr>
            <a:spLocks noChangeAspect="1" noChangeArrowheads="1"/>
          </p:cNvSpPr>
          <p:nvPr/>
        </p:nvSpPr>
        <p:spPr bwMode="auto">
          <a:xfrm>
            <a:off x="155575" y="-419100"/>
            <a:ext cx="1114425" cy="87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5" name="AutoShape 6" descr="Bildergebnis für wolke"/>
          <p:cNvSpPr>
            <a:spLocks noChangeAspect="1" noChangeArrowheads="1"/>
          </p:cNvSpPr>
          <p:nvPr/>
        </p:nvSpPr>
        <p:spPr bwMode="auto">
          <a:xfrm>
            <a:off x="307975" y="-266700"/>
            <a:ext cx="1114425" cy="87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" name="Ellipse 5"/>
          <p:cNvSpPr/>
          <p:nvPr/>
        </p:nvSpPr>
        <p:spPr>
          <a:xfrm>
            <a:off x="8839182" y="4005096"/>
            <a:ext cx="28800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52" name="Ellipse 51"/>
          <p:cNvSpPr/>
          <p:nvPr/>
        </p:nvSpPr>
        <p:spPr>
          <a:xfrm>
            <a:off x="3728864" y="4727426"/>
            <a:ext cx="288000" cy="288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pic>
        <p:nvPicPr>
          <p:cNvPr id="25601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666" y="2228062"/>
            <a:ext cx="2857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667" y="4372149"/>
            <a:ext cx="285750" cy="28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5722" y="3284984"/>
            <a:ext cx="2857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7650" y="2564904"/>
            <a:ext cx="2857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5722" y="2924944"/>
            <a:ext cx="2857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661" y="3645024"/>
            <a:ext cx="2857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7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667" y="4727426"/>
            <a:ext cx="2857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8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864" y="2272804"/>
            <a:ext cx="285750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9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114" y="2618667"/>
            <a:ext cx="285750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10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864" y="2994025"/>
            <a:ext cx="285750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11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5682" y="3284984"/>
            <a:ext cx="285750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12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501" y="3645024"/>
            <a:ext cx="285750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13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864" y="4005064"/>
            <a:ext cx="285750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14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73" y="4366592"/>
            <a:ext cx="285750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15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LightScreen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523" y="4366592"/>
            <a:ext cx="285750" cy="280987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152764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1E780-DE1C-4ECA-B5E5-863D0BC5328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704528" y="1268761"/>
            <a:ext cx="9001000" cy="504056"/>
          </a:xfrm>
        </p:spPr>
        <p:txBody>
          <a:bodyPr/>
          <a:lstStyle/>
          <a:p>
            <a:r>
              <a:rPr lang="de-DE" sz="3600" dirty="0" smtClean="0"/>
              <a:t>Vielen Dank für Ihre Aufmerksamkeit.</a:t>
            </a:r>
          </a:p>
          <a:p>
            <a:endParaRPr lang="de-DE" sz="3600" dirty="0" smtClean="0"/>
          </a:p>
          <a:p>
            <a:endParaRPr lang="de-DE" sz="3600" dirty="0" smtClean="0"/>
          </a:p>
          <a:p>
            <a:endParaRPr lang="de-DE" sz="3600" dirty="0"/>
          </a:p>
        </p:txBody>
      </p:sp>
      <p:sp>
        <p:nvSpPr>
          <p:cNvPr id="2" name="Textfeld 1"/>
          <p:cNvSpPr txBox="1"/>
          <p:nvPr/>
        </p:nvSpPr>
        <p:spPr>
          <a:xfrm>
            <a:off x="3104217" y="2492896"/>
            <a:ext cx="3240360" cy="487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600" dirty="0" smtClean="0"/>
              <a:t>Adriana Sikora </a:t>
            </a:r>
          </a:p>
          <a:p>
            <a:pPr algn="ctr">
              <a:lnSpc>
                <a:spcPct val="150000"/>
              </a:lnSpc>
            </a:pPr>
            <a:r>
              <a:rPr lang="de-DE" sz="1600" dirty="0" smtClean="0">
                <a:hlinkClick r:id="rId2"/>
              </a:rPr>
              <a:t>sikora@mpdl.mpg.de</a:t>
            </a:r>
            <a:endParaRPr lang="de-DE" sz="1600" dirty="0"/>
          </a:p>
          <a:p>
            <a:pPr algn="ctr">
              <a:lnSpc>
                <a:spcPct val="150000"/>
              </a:lnSpc>
            </a:pPr>
            <a:r>
              <a:rPr lang="de-DE" sz="1600" dirty="0" smtClean="0"/>
              <a:t>Kai Geschuhn</a:t>
            </a:r>
          </a:p>
          <a:p>
            <a:pPr algn="ctr">
              <a:lnSpc>
                <a:spcPct val="150000"/>
              </a:lnSpc>
            </a:pPr>
            <a:r>
              <a:rPr lang="de-DE" sz="1600" dirty="0">
                <a:hlinkClick r:id="rId2"/>
              </a:rPr>
              <a:t>g</a:t>
            </a:r>
            <a:r>
              <a:rPr lang="de-DE" sz="1600" dirty="0" smtClean="0">
                <a:hlinkClick r:id="rId2"/>
              </a:rPr>
              <a:t>eschuhn@mpdl.mpg.de</a:t>
            </a:r>
            <a:endParaRPr lang="de-DE" sz="1600" dirty="0"/>
          </a:p>
          <a:p>
            <a:pPr algn="ctr">
              <a:lnSpc>
                <a:spcPct val="150000"/>
              </a:lnSpc>
            </a:pPr>
            <a:r>
              <a:rPr lang="de-DE" sz="1600" dirty="0" smtClean="0"/>
              <a:t>Michael Schlachter</a:t>
            </a:r>
          </a:p>
          <a:p>
            <a:pPr algn="ctr">
              <a:lnSpc>
                <a:spcPct val="150000"/>
              </a:lnSpc>
            </a:pPr>
            <a:r>
              <a:rPr lang="de-DE" sz="1600" dirty="0" smtClean="0">
                <a:hlinkClick r:id="rId3"/>
              </a:rPr>
              <a:t>schlachter@mpdl.mpg.de</a:t>
            </a:r>
            <a:endParaRPr lang="de-DE" sz="1600" dirty="0"/>
          </a:p>
          <a:p>
            <a:pPr algn="ctr">
              <a:lnSpc>
                <a:spcPct val="150000"/>
              </a:lnSpc>
            </a:pPr>
            <a:endParaRPr lang="de-DE" sz="1600" dirty="0" smtClean="0"/>
          </a:p>
          <a:p>
            <a:pPr algn="ctr">
              <a:lnSpc>
                <a:spcPct val="150000"/>
              </a:lnSpc>
            </a:pPr>
            <a:r>
              <a:rPr lang="de-DE" sz="1600" dirty="0" smtClean="0"/>
              <a:t>Max </a:t>
            </a:r>
            <a:r>
              <a:rPr lang="de-DE" sz="1600" dirty="0"/>
              <a:t>Planck Digital Library</a:t>
            </a:r>
          </a:p>
          <a:p>
            <a:pPr algn="ctr">
              <a:lnSpc>
                <a:spcPct val="150000"/>
              </a:lnSpc>
            </a:pPr>
            <a:r>
              <a:rPr lang="de-DE" sz="1600" dirty="0" err="1" smtClean="0"/>
              <a:t>Amalienstraße</a:t>
            </a:r>
            <a:r>
              <a:rPr lang="de-DE" sz="1600" dirty="0" smtClean="0"/>
              <a:t> 33</a:t>
            </a:r>
          </a:p>
          <a:p>
            <a:pPr algn="ctr">
              <a:lnSpc>
                <a:spcPct val="150000"/>
              </a:lnSpc>
            </a:pPr>
            <a:r>
              <a:rPr lang="de-DE" sz="1600" dirty="0" smtClean="0"/>
              <a:t>80799 München</a:t>
            </a:r>
          </a:p>
          <a:p>
            <a:pPr algn="ctr">
              <a:lnSpc>
                <a:spcPct val="150000"/>
              </a:lnSpc>
            </a:pPr>
            <a:r>
              <a:rPr lang="de-DE" sz="1600" dirty="0" smtClean="0">
                <a:hlinkClick r:id="rId4"/>
              </a:rPr>
              <a:t>www.mpdl.mpg.de</a:t>
            </a:r>
            <a:r>
              <a:rPr lang="de-DE" sz="1600" dirty="0" smtClean="0"/>
              <a:t> </a:t>
            </a:r>
          </a:p>
          <a:p>
            <a:pPr algn="ctr">
              <a:lnSpc>
                <a:spcPct val="150000"/>
              </a:lnSpc>
            </a:pPr>
            <a:endParaRPr lang="de-DE" sz="500" dirty="0"/>
          </a:p>
          <a:p>
            <a:pPr algn="ctr">
              <a:lnSpc>
                <a:spcPct val="150000"/>
              </a:lnSpc>
            </a:pPr>
            <a:endParaRPr lang="de-DE" sz="1400" dirty="0" smtClean="0"/>
          </a:p>
          <a:p>
            <a:pPr algn="ctr"/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ntwur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613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4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caeNgETkiJh79kwB0m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VstNLjY0CAGwpdO4KM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m_zCOo7kyON9WbNsTP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dvebdHkuIKgUIUzg6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VstNLjY0CAGwpdO4KM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mODQ5Gk6DBP1gtlDF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LstIKLGUuWriFDh4lX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1yCQGYTEWEBQQaXRkW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XVBQt90arWlA4myBo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XVBQt90arWlA4myBo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XVBQt90arWlA4myBo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XVBQt90arWlA4myBo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mZzc_Ez0mtCDGQVSb6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src9JCW0K_yrHEWz96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yVlfUs.0O_CP1bTDU8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VstNLjY0CAGwpdO4KM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zD6t3qS0q9ItQg28_U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dvebdHkuIKgUIUzg6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p9XBj1GUWy5LzWT68t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wyUazR70y1afsLO9NCl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xkLK__aUu90LRa8W035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RTuI7o0OtGbPVM9NA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gOYB_4A0ap2B6.UrPU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VstNLjY0CAGwpdO4KM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zD6t3qS0q9ItQg28_U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dvebdHkuIKgUIUzg6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p9XBj1GUWy5LzWT68t3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wyUazR70y1afsLO9NC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xkLK__aUu90LRa8W035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eDcmV9jEC_9xzDdD2P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8asXrK_EuyA0OyCA61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bCpB0W80S7957WRppX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ZRsssZtU274sL0yMJ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y2oNAiG0uBkXaUn7U.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bPuZRockSsvZDSUIGq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G.mHB6eUG44_gy_z2O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1twzbH0265mQT_dF6S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wyUazR70y1afsLO9NC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p9XBj1GUWy5LzWT68t3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xZ8AsvUkK6rpbhc0mm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Dynm._yUKDLGCK.AAe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Pe8GZ9g0OfRaM1Ex.t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XVLsAsMU29hDkPejSs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S.NbFRx0.pLpgFBa5k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.q0zqoZkaZzhPX.UIx3A"/>
</p:tagLst>
</file>

<file path=ppt/theme/theme1.xml><?xml version="1.0" encoding="utf-8"?>
<a:theme xmlns:a="http://schemas.openxmlformats.org/drawingml/2006/main" name="MPDL PPT Template (Vorlagen) 20120926">
  <a:themeElements>
    <a:clrScheme name="Max Planck Digital Library 01">
      <a:dk1>
        <a:sysClr val="windowText" lastClr="000000"/>
      </a:dk1>
      <a:lt1>
        <a:sysClr val="window" lastClr="FFFFFF"/>
      </a:lt1>
      <a:dk2>
        <a:srgbClr val="113B79"/>
      </a:dk2>
      <a:lt2>
        <a:srgbClr val="F8F8F8"/>
      </a:lt2>
      <a:accent1>
        <a:srgbClr val="CDD8E6"/>
      </a:accent1>
      <a:accent2>
        <a:srgbClr val="EAEAEA"/>
      </a:accent2>
      <a:accent3>
        <a:srgbClr val="C0C0C0"/>
      </a:accent3>
      <a:accent4>
        <a:srgbClr val="969696"/>
      </a:accent4>
      <a:accent5>
        <a:srgbClr val="FF0000"/>
      </a:accent5>
      <a:accent6>
        <a:srgbClr val="00CC00"/>
      </a:accent6>
      <a:hlink>
        <a:srgbClr val="113B79"/>
      </a:hlink>
      <a:folHlink>
        <a:srgbClr val="113B79"/>
      </a:folHlink>
    </a:clrScheme>
    <a:fontScheme name="Max Planck Digital Library 01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ctr"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PDL PPT Template (Vorlagen) 20120926</Template>
  <TotalTime>0</TotalTime>
  <Words>222</Words>
  <Application>Microsoft Office PowerPoint</Application>
  <PresentationFormat>A4-Papier (210x297 mm)</PresentationFormat>
  <Paragraphs>96</Paragraphs>
  <Slides>6</Slides>
  <Notes>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8" baseType="lpstr">
      <vt:lpstr>MPDL PPT Template (Vorlagen) 20120926</vt:lpstr>
      <vt:lpstr>think-cell Slide</vt:lpstr>
      <vt:lpstr>Überblick APC-Management in der MPDL:  Bestandsaufnahme und Herausforderunge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präsentation neues Template  für Powerpoint 2010 (und 2007)</dc:title>
  <dc:creator>Adriana Sikora</dc:creator>
  <cp:lastModifiedBy>Adriana Sikora</cp:lastModifiedBy>
  <cp:revision>250</cp:revision>
  <cp:lastPrinted>2014-06-02T14:15:10Z</cp:lastPrinted>
  <dcterms:created xsi:type="dcterms:W3CDTF">2014-04-10T12:24:56Z</dcterms:created>
  <dcterms:modified xsi:type="dcterms:W3CDTF">2016-04-08T08:12:54Z</dcterms:modified>
</cp:coreProperties>
</file>